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189" r:id="rId1"/>
    <p:sldMasterId id="2147486213" r:id="rId2"/>
    <p:sldMasterId id="2147486342" r:id="rId3"/>
    <p:sldMasterId id="2147486367" r:id="rId4"/>
    <p:sldMasterId id="2147486379" r:id="rId5"/>
  </p:sldMasterIdLst>
  <p:notesMasterIdLst>
    <p:notesMasterId r:id="rId25"/>
  </p:notesMasterIdLst>
  <p:sldIdLst>
    <p:sldId id="273" r:id="rId6"/>
    <p:sldId id="379" r:id="rId7"/>
    <p:sldId id="412" r:id="rId8"/>
    <p:sldId id="430" r:id="rId9"/>
    <p:sldId id="417" r:id="rId10"/>
    <p:sldId id="413" r:id="rId11"/>
    <p:sldId id="434" r:id="rId12"/>
    <p:sldId id="436" r:id="rId13"/>
    <p:sldId id="399" r:id="rId14"/>
    <p:sldId id="437" r:id="rId15"/>
    <p:sldId id="407" r:id="rId16"/>
    <p:sldId id="408" r:id="rId17"/>
    <p:sldId id="409" r:id="rId18"/>
    <p:sldId id="425" r:id="rId19"/>
    <p:sldId id="429" r:id="rId20"/>
    <p:sldId id="427" r:id="rId21"/>
    <p:sldId id="410" r:id="rId22"/>
    <p:sldId id="438" r:id="rId23"/>
    <p:sldId id="306" r:id="rId24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FF"/>
    <a:srgbClr val="00FF00"/>
    <a:srgbClr val="008000"/>
    <a:srgbClr val="0033CC"/>
    <a:srgbClr val="0000FF"/>
    <a:srgbClr val="CC00FF"/>
    <a:srgbClr val="CC00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41" autoAdjust="0"/>
    <p:restoredTop sz="75030" autoAdjust="0"/>
  </p:normalViewPr>
  <p:slideViewPr>
    <p:cSldViewPr>
      <p:cViewPr varScale="1">
        <p:scale>
          <a:sx n="78" d="100"/>
          <a:sy n="78" d="100"/>
        </p:scale>
        <p:origin x="-80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9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30662486633614"/>
          <c:y val="2.8185113861468089E-2"/>
          <c:w val="0.69988310488966654"/>
          <c:h val="0.665422200641177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</c:v>
                </c:pt>
              </c:strCache>
            </c:strRef>
          </c:tx>
          <c:spPr>
            <a:solidFill>
              <a:srgbClr val="00FFFF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НДФЛ</c:v>
                </c:pt>
                <c:pt idx="1">
                  <c:v>УСНО</c:v>
                </c:pt>
                <c:pt idx="2">
                  <c:v>ЕНВД</c:v>
                </c:pt>
                <c:pt idx="3">
                  <c:v>Госпошлина</c:v>
                </c:pt>
                <c:pt idx="4">
                  <c:v>Акцизы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51166.3</c:v>
                </c:pt>
                <c:pt idx="1">
                  <c:v>28642.9</c:v>
                </c:pt>
                <c:pt idx="2">
                  <c:v>22217.3</c:v>
                </c:pt>
                <c:pt idx="3">
                  <c:v>9700</c:v>
                </c:pt>
                <c:pt idx="4">
                  <c:v>1542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 год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НДФЛ</c:v>
                </c:pt>
                <c:pt idx="1">
                  <c:v>УСНО</c:v>
                </c:pt>
                <c:pt idx="2">
                  <c:v>ЕНВД</c:v>
                </c:pt>
                <c:pt idx="3">
                  <c:v>Госпошлина</c:v>
                </c:pt>
                <c:pt idx="4">
                  <c:v>Акцизы 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439445.4</c:v>
                </c:pt>
                <c:pt idx="1">
                  <c:v>29077.599999999999</c:v>
                </c:pt>
                <c:pt idx="2">
                  <c:v>22663.599999999999</c:v>
                </c:pt>
                <c:pt idx="3">
                  <c:v>10000</c:v>
                </c:pt>
                <c:pt idx="4">
                  <c:v>1765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375616"/>
        <c:axId val="59377152"/>
      </c:barChart>
      <c:catAx>
        <c:axId val="59375616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solidFill>
              <a:srgbClr val="0033CC"/>
            </a:solidFill>
          </a:ln>
        </c:spPr>
        <c:crossAx val="59377152"/>
        <c:crosses val="autoZero"/>
        <c:auto val="1"/>
        <c:lblAlgn val="ctr"/>
        <c:lblOffset val="100"/>
        <c:noMultiLvlLbl val="0"/>
      </c:catAx>
      <c:valAx>
        <c:axId val="593771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5937561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chemeClr val="accent5">
        <a:lumMod val="60000"/>
        <a:lumOff val="40000"/>
      </a:schemeClr>
    </a:solidFill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МБ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РАСХОДЫ 2019 г</c:v>
                </c:pt>
                <c:pt idx="1">
                  <c:v>РАСХОДЫ 2020 год</c:v>
                </c:pt>
                <c:pt idx="2">
                  <c:v>РАСХОДЫ 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39.5</c:v>
                </c:pt>
                <c:pt idx="1">
                  <c:v>612.1</c:v>
                </c:pt>
                <c:pt idx="2">
                  <c:v>58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Целевые МБТ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РАСХОДЫ 2019 г</c:v>
                </c:pt>
                <c:pt idx="1">
                  <c:v>РАСХОДЫ 2020 год</c:v>
                </c:pt>
                <c:pt idx="2">
                  <c:v>РАСХОДЫ 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798.2</c:v>
                </c:pt>
                <c:pt idx="1">
                  <c:v>801.2</c:v>
                </c:pt>
                <c:pt idx="2">
                  <c:v>801.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cylinder"/>
        <c:axId val="21948288"/>
        <c:axId val="21949824"/>
        <c:axId val="0"/>
      </c:bar3DChart>
      <c:catAx>
        <c:axId val="21948288"/>
        <c:scaling>
          <c:orientation val="minMax"/>
        </c:scaling>
        <c:delete val="0"/>
        <c:axPos val="b"/>
        <c:numFmt formatCode="\О\с\н\о\в\н\о\й" sourceLinked="1"/>
        <c:majorTickMark val="none"/>
        <c:minorTickMark val="none"/>
        <c:tickLblPos val="nextTo"/>
        <c:txPr>
          <a:bodyPr/>
          <a:lstStyle/>
          <a:p>
            <a:pPr>
              <a:defRPr sz="1200" b="1" i="0" baseline="0"/>
            </a:pPr>
            <a:endParaRPr lang="ru-RU"/>
          </a:p>
        </c:txPr>
        <c:crossAx val="21949824"/>
        <c:crosses val="autoZero"/>
        <c:auto val="1"/>
        <c:lblAlgn val="ctr"/>
        <c:lblOffset val="100"/>
        <c:noMultiLvlLbl val="0"/>
      </c:catAx>
      <c:valAx>
        <c:axId val="21949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21948288"/>
        <c:crosses val="autoZero"/>
        <c:crossBetween val="between"/>
      </c:valAx>
      <c:spPr>
        <a:noFill/>
        <a:ln w="12436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882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8811120832118209E-2"/>
          <c:y val="9.4441762928760831E-2"/>
          <c:w val="0.63354209196072708"/>
          <c:h val="0.9055582370712391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8000"/>
            </a:solidFill>
          </c:spPr>
          <c:explosion val="25"/>
          <c:dPt>
            <c:idx val="0"/>
            <c:bubble3D val="0"/>
            <c:spPr>
              <a:solidFill>
                <a:srgbClr val="7030A0"/>
              </a:solidFill>
            </c:spPr>
          </c:dPt>
          <c:dPt>
            <c:idx val="1"/>
            <c:bubble3D val="0"/>
            <c:spPr>
              <a:solidFill>
                <a:srgbClr val="00FF00"/>
              </a:solidFill>
            </c:spPr>
          </c:dPt>
          <c:dPt>
            <c:idx val="2"/>
            <c:bubble3D val="0"/>
            <c:spPr>
              <a:solidFill>
                <a:srgbClr val="0070C0"/>
              </a:solidFill>
            </c:spPr>
          </c:dPt>
          <c:dPt>
            <c:idx val="4"/>
            <c:bubble3D val="0"/>
            <c:spPr>
              <a:solidFill>
                <a:srgbClr val="00FFFF"/>
              </a:solidFill>
            </c:spPr>
          </c:dPt>
          <c:dPt>
            <c:idx val="5"/>
            <c:bubble3D val="0"/>
            <c:spPr>
              <a:solidFill>
                <a:schemeClr val="accent2"/>
              </a:solidFill>
            </c:spPr>
          </c:dPt>
          <c:dPt>
            <c:idx val="6"/>
            <c:bubble3D val="0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-1.5896276854282104E-3"/>
                  <c:y val="-0.198282041438525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8269721493146689E-2"/>
                  <c:y val="2.72071077974639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2489124623310975E-2"/>
                  <c:y val="3.4064445853415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1598376591814912E-2"/>
                  <c:y val="-9.9268719805796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6.0167808885000486E-2"/>
                  <c:y val="-7.01688760399701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6.9960994459025955E-2"/>
                  <c:y val="-6.66548075333543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10</c:f>
              <c:strCache>
                <c:ptCount val="7"/>
                <c:pt idx="0">
                  <c:v>Заработная плата с начислениями</c:v>
                </c:pt>
                <c:pt idx="1">
                  <c:v>Коммунальные платежи</c:v>
                </c:pt>
                <c:pt idx="2">
                  <c:v>Содержание имущества</c:v>
                </c:pt>
                <c:pt idx="3">
                  <c:v>Медицинские осмотры</c:v>
                </c:pt>
                <c:pt idx="4">
                  <c:v>Продукты питания </c:v>
                </c:pt>
                <c:pt idx="5">
                  <c:v>ГСМ</c:v>
                </c:pt>
                <c:pt idx="6">
                  <c:v>Субсидия на выполнение МЗ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96.3</c:v>
                </c:pt>
                <c:pt idx="1">
                  <c:v>73.5</c:v>
                </c:pt>
                <c:pt idx="2">
                  <c:v>14.3</c:v>
                </c:pt>
                <c:pt idx="3">
                  <c:v>7.4</c:v>
                </c:pt>
                <c:pt idx="4">
                  <c:v>72.2</c:v>
                </c:pt>
                <c:pt idx="5">
                  <c:v>5.4</c:v>
                </c:pt>
                <c:pt idx="6">
                  <c:v>8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egendEntry>
        <c:idx val="7"/>
        <c:delete val="1"/>
      </c:legendEntry>
      <c:legendEntry>
        <c:idx val="8"/>
        <c:delete val="1"/>
      </c:legendEntry>
      <c:layout>
        <c:manualLayout>
          <c:xMode val="edge"/>
          <c:yMode val="edge"/>
          <c:x val="0.71567050646446972"/>
          <c:y val="2.3365388814566065E-3"/>
          <c:w val="0.2580949256342957"/>
          <c:h val="0.99766346111854343"/>
        </c:manualLayout>
      </c:layout>
      <c:overlay val="0"/>
      <c:txPr>
        <a:bodyPr/>
        <a:lstStyle/>
        <a:p>
          <a:pPr>
            <a:defRPr sz="16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01754641780888"/>
          <c:y val="3.9847602515386195E-2"/>
          <c:w val="0.52816382327209099"/>
          <c:h val="0.8375441259220457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(налоговые, неналоговые)</c:v>
                </c:pt>
              </c:strCache>
            </c:strRef>
          </c:tx>
          <c:invertIfNegative val="0"/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30877</c:v>
                </c:pt>
                <c:pt idx="1">
                  <c:v>550007.30000000005</c:v>
                </c:pt>
                <c:pt idx="2">
                  <c:v>55439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ерхний предел муниципального долга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8,6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15,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b="1" i="0" baseline="0" smtClean="0"/>
                      <a:t>20,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b="1" i="0" baseline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5614.9</c:v>
                </c:pt>
                <c:pt idx="1">
                  <c:v>84846.6</c:v>
                </c:pt>
                <c:pt idx="2">
                  <c:v>1109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0838016"/>
        <c:axId val="82396288"/>
      </c:barChart>
      <c:catAx>
        <c:axId val="80838016"/>
        <c:scaling>
          <c:orientation val="minMax"/>
        </c:scaling>
        <c:delete val="0"/>
        <c:axPos val="b"/>
        <c:majorTickMark val="out"/>
        <c:minorTickMark val="none"/>
        <c:tickLblPos val="nextTo"/>
        <c:crossAx val="82396288"/>
        <c:crosses val="autoZero"/>
        <c:auto val="1"/>
        <c:lblAlgn val="ctr"/>
        <c:lblOffset val="100"/>
        <c:noMultiLvlLbl val="0"/>
      </c:catAx>
      <c:valAx>
        <c:axId val="823962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08380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7307025857878877"/>
          <c:y val="1.595952773516696E-2"/>
          <c:w val="0.31767048216195198"/>
          <c:h val="0.3640880444616894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</cdr:x>
      <cdr:y>0.10167</cdr:y>
    </cdr:from>
    <cdr:to>
      <cdr:x>0.42125</cdr:x>
      <cdr:y>0.18114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2386608" y="460648"/>
          <a:ext cx="1080120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400" b="1" dirty="0" smtClean="0">
              <a:solidFill>
                <a:srgbClr val="C00000"/>
              </a:solidFill>
            </a:rPr>
            <a:t>+</a:t>
          </a:r>
          <a:r>
            <a:rPr lang="ru-RU" sz="1400" b="1" dirty="0" smtClean="0">
              <a:solidFill>
                <a:srgbClr val="C00000"/>
              </a:solidFill>
            </a:rPr>
            <a:t>88 279,1</a:t>
          </a:r>
          <a:endParaRPr lang="ru-RU" sz="1400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325</cdr:x>
      <cdr:y>0.53079</cdr:y>
    </cdr:from>
    <cdr:to>
      <cdr:x>0.43611</cdr:x>
      <cdr:y>0.5943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2674640" y="2404864"/>
          <a:ext cx="914400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 </a:t>
          </a:r>
          <a:r>
            <a:rPr lang="ru-RU" b="1" dirty="0" smtClean="0">
              <a:solidFill>
                <a:srgbClr val="C00000"/>
              </a:solidFill>
            </a:rPr>
            <a:t>434,7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45625</cdr:x>
      <cdr:y>0.54668</cdr:y>
    </cdr:from>
    <cdr:to>
      <cdr:x>0.56736</cdr:x>
      <cdr:y>0.62615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754760" y="2476872"/>
          <a:ext cx="914400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</a:t>
          </a:r>
          <a:r>
            <a:rPr lang="ru-RU" b="1" dirty="0" smtClean="0">
              <a:solidFill>
                <a:srgbClr val="C00000"/>
              </a:solidFill>
            </a:rPr>
            <a:t>446,3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59625</cdr:x>
      <cdr:y>0.57847</cdr:y>
    </cdr:from>
    <cdr:to>
      <cdr:x>0.70736</cdr:x>
      <cdr:y>0.64204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4906888" y="2620888"/>
          <a:ext cx="914400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</a:t>
          </a:r>
          <a:r>
            <a:rPr lang="ru-RU" b="1" dirty="0" smtClean="0">
              <a:solidFill>
                <a:srgbClr val="C00000"/>
              </a:solidFill>
            </a:rPr>
            <a:t>300,0</a:t>
          </a:r>
          <a:endParaRPr lang="ru-RU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625</cdr:x>
      <cdr:y>0.61026</cdr:y>
    </cdr:from>
    <cdr:to>
      <cdr:x>0.87361</cdr:x>
      <cdr:y>0.65794</cdr:y>
    </cdr:to>
    <cdr:sp macro="" textlink="">
      <cdr:nvSpPr>
        <cdr:cNvPr id="7" name="Прямоугольник 6"/>
        <cdr:cNvSpPr/>
      </cdr:nvSpPr>
      <cdr:spPr>
        <a:xfrm xmlns:a="http://schemas.openxmlformats.org/drawingml/2006/main">
          <a:off x="6275040" y="2764904"/>
          <a:ext cx="914400" cy="21602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b="1" dirty="0" smtClean="0">
              <a:solidFill>
                <a:srgbClr val="C00000"/>
              </a:solidFill>
            </a:rPr>
            <a:t>+</a:t>
          </a:r>
          <a:r>
            <a:rPr lang="ru-RU" b="1" dirty="0" smtClean="0">
              <a:solidFill>
                <a:srgbClr val="C00000"/>
              </a:solidFill>
            </a:rPr>
            <a:t>222,2</a:t>
          </a:r>
          <a:endParaRPr lang="ru-RU" b="1" dirty="0">
            <a:solidFill>
              <a:srgbClr val="C0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484430C-6E42-4965-845E-7646400E5F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16606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5271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9171DF-FCF6-4012-9AB1-109D6A061114}" type="slidenum">
              <a:rPr lang="ru-RU" altLang="ru-RU" sz="1200" smtClean="0"/>
              <a:pPr eaLnBrk="1" hangingPunct="1"/>
              <a:t>2</a:t>
            </a:fld>
            <a:endParaRPr lang="ru-RU" altLang="ru-RU" sz="12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245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3330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753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00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366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37534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374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84430C-6E42-4965-845E-7646400E5F32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931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58A7B5-AD27-4F79-9E8D-BE52EE6E61D3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F33E6430-1678-40E7-994D-83854D79653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572640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1529BD-89E1-43F4-A36E-80BC61BE2D0D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17E5F3-FD21-49E7-B46C-EA92226096D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790830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3FE4C-E3B7-41EF-8FAA-B6006CF74830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8BB30-9EA5-42E1-9C23-4DF08741805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219920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D3C5764-D0B2-4CC3-9664-78C858C8FD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63253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682B1-8EE4-4E9B-9D14-085FEACCFA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499479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1D170-81AC-4944-B456-A618CBCDFD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006745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93600-A5B3-4683-A6DB-5AD2F0E9BF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828670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422F1-A004-430E-835E-5831F11C29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10976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33E7F8-FCAB-47EE-A9CE-8EC7C7000D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00629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6DAAB-F4BA-4D32-BB55-1371A151EC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471432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B814A-926F-4055-BEE6-BCD1AADA89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062153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21619-EAE4-4870-9226-3EE78ABA5AB4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8BE07E-13E0-4F14-8DBB-91448C0A647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948338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A8B167-C691-448E-9463-363C3011DD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120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E7705-E6CF-4224-8D39-77B325662E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38025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FF9296-6FB1-4ED3-836F-16C058FEF2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95159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0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ru-RU" altLang="en-US"/>
              <a:t>Образец заголовка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ru-RU" altLang="en-US"/>
              <a:t>Образец подзаголовка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D19F6A0-DDC1-4FC0-B5D7-C6F16B0E46E7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93C2F3AD-91E2-453E-B408-8767234B38B8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02766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066BC144-3779-46EB-922D-41833DB65B99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7F496412-8DD2-45A0-95A9-D68CD4E4648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1113760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1A1A16EE-278E-448D-A803-92FAF104B2AE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79B3A92-5FCE-49F9-9451-6C4EAD3C9F5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3558212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CD7143F0-DB3D-4EB2-82AF-089818C6A176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5ACCA6BE-4B60-4CE9-93EB-97DA00698F0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597024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450425C-4DF5-471D-BD08-FC6DEAD9C65C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46380891-643A-4BC5-9AED-79009479729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471007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6F5F520A-3EEF-4D6C-8CAB-735363291A90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51B98CD-DBEE-4D6E-A288-96C2A72647B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50623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B9FFE3FE-EE79-49C9-8FAA-CE63441A7BA6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409A3AA-A83E-4D2F-AFC4-58DB948F85F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645480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394309-40EF-4300-8462-89505322C558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56BF9C-60BA-4CEB-97CA-781A718EB47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31316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930E1F8-EEDE-4949-BF15-5E3F2FEF0576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03B76487-891F-4596-93B1-1C816236EEA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8885750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DFF588C-C0A6-4FE8-BB4C-E938E06AAB17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D8BD566D-1784-4AAB-A422-48DC6CF980C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4760838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2783D0F-5EA3-4A00-A79C-342E7A18102A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A341EDF0-AE3A-4FE1-84C2-F665BA2AEBBA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5554319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806530F-575C-4C8F-8131-218C17D2C049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1906A506-49B5-4890-AAE3-4A083A144D51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8793390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8604DD06-A287-4604-AEE7-6DE49AE4B153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3200"/>
            </a:lvl1pPr>
          </a:lstStyle>
          <a:p>
            <a:pPr>
              <a:defRPr/>
            </a:pPr>
            <a:fld id="{311EBA61-12BE-43E3-BFE8-2E29CB47DAB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99994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345440" y="2942602"/>
            <a:ext cx="7147931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11"/>
          <p:cNvSpPr/>
          <p:nvPr/>
        </p:nvSpPr>
        <p:spPr>
          <a:xfrm>
            <a:off x="7572652" y="2944634"/>
            <a:ext cx="1190348" cy="2459736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2"/>
          <p:cNvSpPr/>
          <p:nvPr/>
        </p:nvSpPr>
        <p:spPr>
          <a:xfrm>
            <a:off x="7712075" y="3136900"/>
            <a:ext cx="911225" cy="2074863"/>
          </a:xfrm>
          <a:prstGeom prst="rect">
            <a:avLst/>
          </a:prstGeom>
          <a:solidFill>
            <a:schemeClr val="accent3">
              <a:alpha val="70000"/>
            </a:schemeClr>
          </a:solidFill>
          <a:ln w="63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3"/>
          <p:cNvSpPr/>
          <p:nvPr/>
        </p:nvSpPr>
        <p:spPr>
          <a:xfrm>
            <a:off x="446088" y="3055938"/>
            <a:ext cx="694690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10"/>
          <p:cNvSpPr/>
          <p:nvPr/>
        </p:nvSpPr>
        <p:spPr>
          <a:xfrm>
            <a:off x="541338" y="4559300"/>
            <a:ext cx="675640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9"/>
          <p:cNvSpPr/>
          <p:nvPr/>
        </p:nvSpPr>
        <p:spPr>
          <a:xfrm>
            <a:off x="539750" y="3140075"/>
            <a:ext cx="6759575" cy="2076450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2805" y="4648200"/>
            <a:ext cx="6553200" cy="457200"/>
          </a:xfrm>
        </p:spPr>
        <p:txBody>
          <a:bodyPr>
            <a:normAutofit/>
          </a:bodyPr>
          <a:lstStyle>
            <a:lvl1pPr marL="0" indent="0" algn="ctr">
              <a:buNone/>
              <a:defRPr sz="1800" cap="all" spc="3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4705" y="3227033"/>
            <a:ext cx="6629400" cy="1219201"/>
          </a:xfrm>
        </p:spPr>
        <p:txBody>
          <a:bodyPr anchor="b" anchorCtr="0">
            <a:noAutofit/>
          </a:bodyPr>
          <a:lstStyle>
            <a:lvl1pPr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86688" y="4625975"/>
            <a:ext cx="762000" cy="457200"/>
          </a:xfrm>
        </p:spPr>
        <p:txBody>
          <a:bodyPr/>
          <a:lstStyle>
            <a:lvl1pPr algn="ctr">
              <a:defRPr sz="2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5150F6B3-2E8D-4F26-A636-ABE172D9A6BB}" type="slidenum">
              <a:rPr lang="ru-RU">
                <a:solidFill>
                  <a:srgbClr val="53548A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3548A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11317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2BEA47-B44D-4AFD-9C8B-93CCECB47EA6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6553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5" name="Rounded Rectangle 7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Rectangle 12"/>
          <p:cNvSpPr/>
          <p:nvPr/>
        </p:nvSpPr>
        <p:spPr>
          <a:xfrm>
            <a:off x="451976" y="2946400"/>
            <a:ext cx="8265160" cy="24638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15"/>
          <p:cNvSpPr/>
          <p:nvPr/>
        </p:nvSpPr>
        <p:spPr>
          <a:xfrm>
            <a:off x="568325" y="3048000"/>
            <a:ext cx="8032750" cy="22447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4"/>
          <p:cNvSpPr/>
          <p:nvPr/>
        </p:nvSpPr>
        <p:spPr>
          <a:xfrm>
            <a:off x="676275" y="4541838"/>
            <a:ext cx="7816850" cy="663575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3"/>
          <p:cNvSpPr/>
          <p:nvPr/>
        </p:nvSpPr>
        <p:spPr>
          <a:xfrm>
            <a:off x="676275" y="3124200"/>
            <a:ext cx="7816850" cy="2078038"/>
          </a:xfrm>
          <a:prstGeom prst="rect">
            <a:avLst/>
          </a:prstGeom>
          <a:noFill/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6" y="3200399"/>
            <a:ext cx="7696200" cy="1295401"/>
          </a:xfrm>
        </p:spPr>
        <p:txBody>
          <a:bodyPr anchor="b" anchorCtr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000" kern="1200" cap="all" baseline="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4607510"/>
            <a:ext cx="7696200" cy="523783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E4C70-0CCA-474C-8917-5BB334D745AD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4254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342784-ED37-45E2-80CC-D30B6C41AE5C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22685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88D54-09CD-4598-9F2A-2E15FC47B3D9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38940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128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9071"/>
            <a:ext cx="4038600" cy="440740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94E17D-7518-4F4C-B264-BF8D87D123B1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91897-193C-435F-BB52-E0C0F5BB986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2783177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FFB99-08A0-439D-8930-74D42211FC2C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9921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83DDED-B33E-4A11-A122-CDB8A3BDBE81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37853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D4C80-D41B-4C9D-A97B-64A982C7E906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2132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7015A-72C8-458A-93B2-1E41EE0350A0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40380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3464C7-9D9C-42F9-B55B-C1D06A3DFBF8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1915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/>
          <p:nvPr/>
        </p:nvSpPr>
        <p:spPr>
          <a:xfrm>
            <a:off x="6861175" y="228600"/>
            <a:ext cx="1860550" cy="6122988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7"/>
          <p:cNvSpPr/>
          <p:nvPr/>
        </p:nvSpPr>
        <p:spPr>
          <a:xfrm>
            <a:off x="6954838" y="350838"/>
            <a:ext cx="1673225" cy="587692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48577" y="395427"/>
            <a:ext cx="1485531" cy="578898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380999"/>
            <a:ext cx="6172200" cy="57912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5B2B1-ADCF-44D4-B809-DD16270CC7E3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3782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doc id"/>
          <p:cNvSpPr>
            <a:spLocks noGrp="1" noChangeArrowheads="1"/>
          </p:cNvSpPr>
          <p:nvPr>
            <p:ph type="ftr" sz="quarter" idx="3"/>
          </p:nvPr>
        </p:nvSpPr>
        <p:spPr>
          <a:xfrm>
            <a:off x="8915537" y="37255"/>
            <a:ext cx="65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endParaRPr lang="ru-RU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756807"/>
            <a:ext cx="5130034" cy="372541"/>
          </a:xfr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61896"/>
            <a:ext cx="5130034" cy="21704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grpSp>
        <p:nvGrpSpPr>
          <p:cNvPr id="13351" name="McK Title Elements"/>
          <p:cNvGrpSpPr>
            <a:grpSpLocks/>
          </p:cNvGrpSpPr>
          <p:nvPr/>
        </p:nvGrpSpPr>
        <p:grpSpPr bwMode="auto">
          <a:xfrm>
            <a:off x="2693795" y="2183416"/>
            <a:ext cx="5130034" cy="4601696"/>
            <a:chOff x="1663" y="1348"/>
            <a:chExt cx="3167" cy="2841"/>
          </a:xfrm>
        </p:grpSpPr>
        <p:sp>
          <p:nvSpPr>
            <p:cNvPr id="13331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86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КОНФИДЕНЦИАЛЬНО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2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Тип документа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ru-RU" sz="1400" smtClean="0">
                  <a:solidFill>
                    <a:srgbClr val="000000"/>
                  </a:solidFill>
                  <a:latin typeface="Arial" pitchFamily="34" charset="0"/>
                </a:rPr>
                <a:t>Дата</a:t>
              </a:r>
              <a:endParaRPr lang="en-US" sz="14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4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21202" eaLnBrk="0" hangingPunct="0"/>
              <a:endParaRPr lang="ru-RU" sz="900" smtClean="0">
                <a:solidFill>
                  <a:srgbClr val="000000"/>
                </a:solidFill>
                <a:latin typeface="Arial" pitchFamily="34" charset="0"/>
              </a:endParaRPr>
            </a:p>
            <a:p>
              <a:pPr defTabSz="821202" eaLnBrk="0" hangingPunct="0"/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Настоящий отчет был использован консультантами </a:t>
              </a:r>
              <a:b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</a:br>
              <a:r>
                <a:rPr lang="ru-RU" sz="900" smtClean="0">
                  <a:solidFill>
                    <a:srgbClr val="000000"/>
                  </a:solidFill>
                  <a:latin typeface="Arial" pitchFamily="34" charset="0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13343" name="Working Draft Text" hidden="1"/>
          <p:cNvSpPr>
            <a:spLocks noChangeArrowheads="1"/>
          </p:cNvSpPr>
          <p:nvPr/>
        </p:nvSpPr>
        <p:spPr bwMode="auto">
          <a:xfrm>
            <a:off x="427638" y="349865"/>
            <a:ext cx="3110094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>
              <a:buSzPct val="120000"/>
            </a:pPr>
            <a:r>
              <a:rPr lang="en-US" sz="1400" smtClean="0">
                <a:solidFill>
                  <a:srgbClr val="000000"/>
                </a:solidFill>
                <a:latin typeface="Arial" pitchFamily="34" charset="0"/>
              </a:rPr>
              <a:t>Working Draft    </a:t>
            </a:r>
          </a:p>
        </p:txBody>
      </p:sp>
      <p:sp>
        <p:nvSpPr>
          <p:cNvPr id="13344" name="Working Draft" hidden="1"/>
          <p:cNvSpPr txBox="1">
            <a:spLocks noChangeArrowheads="1"/>
          </p:cNvSpPr>
          <p:nvPr/>
        </p:nvSpPr>
        <p:spPr bwMode="auto">
          <a:xfrm>
            <a:off x="427638" y="594447"/>
            <a:ext cx="4049601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Last Modified 09/06/2006 21:40:09 Russian Standard Time</a:t>
            </a:r>
          </a:p>
        </p:txBody>
      </p:sp>
      <p:sp>
        <p:nvSpPr>
          <p:cNvPr id="13345" name="Printed" hidden="1"/>
          <p:cNvSpPr txBox="1">
            <a:spLocks noChangeArrowheads="1"/>
          </p:cNvSpPr>
          <p:nvPr/>
        </p:nvSpPr>
        <p:spPr bwMode="auto">
          <a:xfrm>
            <a:off x="427638" y="816352"/>
            <a:ext cx="3618724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smtClean="0">
                <a:solidFill>
                  <a:srgbClr val="000000"/>
                </a:solidFill>
                <a:latin typeface="Arial" pitchFamily="34" charset="0"/>
              </a:rPr>
              <a:t>Printed 08/06/2006 17:52:59 Russian Standard Time</a:t>
            </a:r>
          </a:p>
        </p:txBody>
      </p:sp>
    </p:spTree>
    <p:extLst>
      <p:ext uri="{BB962C8B-B14F-4D97-AF65-F5344CB8AC3E}">
        <p14:creationId xmlns:p14="http://schemas.microsoft.com/office/powerpoint/2010/main" val="12309854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BA2CC6-C6B6-480E-9684-7003AC85681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55801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003F4B-2088-467B-9DC0-EBE5E90EE1C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05828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4729" y="1299036"/>
            <a:ext cx="4318495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98728" y="1299036"/>
            <a:ext cx="432011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BE9C6A-E278-431D-A96D-1DF63D209A4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51573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128" y="408372"/>
            <a:ext cx="8260672" cy="10394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128" y="1722438"/>
            <a:ext cx="4040188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128" y="2438400"/>
            <a:ext cx="4040188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722438"/>
            <a:ext cx="404177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38400"/>
            <a:ext cx="4041775" cy="36877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294EB-4D0E-4CB9-98E5-AA44CBB9DCB1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7069E-67E4-4A30-94C9-52CAE5388926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7262986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82B1BA-72D5-4176-9692-224AAFBE27F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98539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05B332-30C4-4278-8A68-48820D4AD6F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0124308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1A1401-F3A0-47B6-9805-873E96865AC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069690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27318"/>
            <a:ext cx="3008044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1938992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1465A8-2AE6-4628-ABFE-EF5BA87AE73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7305772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F0A602-E7B5-44DB-8BE4-286CB939CAF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4513723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187" y="1299036"/>
            <a:ext cx="2954655" cy="124720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BE6EB0C-9A56-4BF8-BBBD-49FB3128808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6549270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454" y="234864"/>
            <a:ext cx="292388" cy="2311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34108" y="234864"/>
            <a:ext cx="1231106" cy="2311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A64E0FD-4AC0-48CB-8D48-812EC57B74F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67811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4729" y="1299036"/>
            <a:ext cx="8794113" cy="24622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186271"/>
          </a:xfrm>
        </p:spPr>
        <p:txBody>
          <a:bodyPr/>
          <a:lstStyle>
            <a:lvl1pPr>
              <a:defRPr/>
            </a:lvl1pPr>
          </a:lstStyle>
          <a:p>
            <a:fld id="{9D0D7CEC-88C5-4800-8F28-947414E2C47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50646" y="37255"/>
            <a:ext cx="1825560" cy="124720"/>
          </a:xfrm>
        </p:spPr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660646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4729" y="1299036"/>
            <a:ext cx="8794113" cy="246221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186271"/>
          </a:xfrm>
        </p:spPr>
        <p:txBody>
          <a:bodyPr/>
          <a:lstStyle>
            <a:lvl1pPr>
              <a:defRPr/>
            </a:lvl1pPr>
          </a:lstStyle>
          <a:p>
            <a:fld id="{38339CE7-A514-47C2-AF0E-417D5BED4B4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50646" y="37255"/>
            <a:ext cx="1825560" cy="124720"/>
          </a:xfrm>
        </p:spPr>
        <p:txBody>
          <a:bodyPr/>
          <a:lstStyle>
            <a:lvl1pPr>
              <a:defRPr/>
            </a:lvl1pPr>
          </a:lstStyle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98320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7A4B92-3D9F-4CC9-8DFD-38BE989D18F6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B19B4A-241D-4F96-823C-D767C20F46B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847669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" name="Rounded Rectangle 10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C32AB5-0C79-4FD1-BB9C-585F6EAECF5F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F5510-C049-4FD9-95EB-06746CD2D78A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451376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11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7"/>
          <p:cNvSpPr/>
          <p:nvPr/>
        </p:nvSpPr>
        <p:spPr>
          <a:xfrm>
            <a:off x="560034" y="1505712"/>
            <a:ext cx="2716566" cy="3523488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9"/>
          <p:cNvSpPr/>
          <p:nvPr/>
        </p:nvSpPr>
        <p:spPr>
          <a:xfrm>
            <a:off x="676275" y="1643063"/>
            <a:ext cx="2484438" cy="3233737"/>
          </a:xfrm>
          <a:prstGeom prst="rect">
            <a:avLst/>
          </a:prstGeom>
          <a:solidFill>
            <a:srgbClr val="FFFFFF"/>
          </a:solidFill>
          <a:ln w="6350" cmpd="dbl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685800"/>
            <a:ext cx="4572000" cy="525780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9000" y="2971800"/>
            <a:ext cx="2298634" cy="1752600"/>
          </a:xfrm>
        </p:spPr>
        <p:txBody>
          <a:bodyPr/>
          <a:lstStyle>
            <a:lvl1pPr marL="0" indent="0">
              <a:spcBef>
                <a:spcPts val="4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9000" y="1734312"/>
            <a:ext cx="2298634" cy="1191620"/>
          </a:xfrm>
        </p:spPr>
        <p:txBody>
          <a:bodyPr anchor="b"/>
          <a:lstStyle>
            <a:lvl1pPr algn="l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8333D1-B94F-4F2E-B228-6C3227587482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414CC2-640F-4093-BCF6-D1676B4F53D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49882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6" name="Rounded Rectangle 8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9"/>
          <p:cNvSpPr/>
          <p:nvPr/>
        </p:nvSpPr>
        <p:spPr>
          <a:xfrm>
            <a:off x="685800" y="4953000"/>
            <a:ext cx="7772400" cy="137160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11"/>
          <p:cNvSpPr/>
          <p:nvPr/>
        </p:nvSpPr>
        <p:spPr>
          <a:xfrm>
            <a:off x="762000" y="5029200"/>
            <a:ext cx="7600950" cy="1203325"/>
          </a:xfrm>
          <a:prstGeom prst="rect">
            <a:avLst/>
          </a:prstGeom>
          <a:solidFill>
            <a:srgbClr val="FFFFFF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12"/>
          <p:cNvSpPr/>
          <p:nvPr/>
        </p:nvSpPr>
        <p:spPr>
          <a:xfrm>
            <a:off x="914400" y="5638800"/>
            <a:ext cx="7327900" cy="452438"/>
          </a:xfrm>
          <a:prstGeom prst="rect">
            <a:avLst/>
          </a:prstGeom>
          <a:solidFill>
            <a:schemeClr val="accent1"/>
          </a:solidFill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10"/>
          <p:cNvSpPr/>
          <p:nvPr/>
        </p:nvSpPr>
        <p:spPr>
          <a:xfrm>
            <a:off x="604838" y="5075238"/>
            <a:ext cx="7947025" cy="1096962"/>
          </a:xfrm>
          <a:prstGeom prst="rect">
            <a:avLst/>
          </a:prstGeom>
          <a:noFill/>
          <a:ln w="6350" cmpd="dbl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85800" y="621437"/>
            <a:ext cx="7772400" cy="4331564"/>
          </a:xfrm>
          <a:solidFill>
            <a:schemeClr val="bg2"/>
          </a:solidFill>
          <a:ln>
            <a:noFill/>
          </a:ln>
          <a:effectLst>
            <a:softEdge rad="12700"/>
          </a:effectLst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56289" y="5656556"/>
            <a:ext cx="7244736" cy="4017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cap="all" spc="250" baseline="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05400"/>
            <a:ext cx="7328514" cy="523043"/>
          </a:xfrm>
        </p:spPr>
        <p:txBody>
          <a:bodyPr anchorCtr="0"/>
          <a:lstStyle>
            <a:lvl1pPr algn="ctr">
              <a:defRPr sz="20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ADADD-8D45-4EFC-8126-6D16D6CEB26A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3C466-1D77-4543-A467-B5A56B5D995B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89202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48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0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5.xml"/><Relationship Id="rId22" Type="http://schemas.openxmlformats.org/officeDocument/2006/relationships/tags" Target="../tags/tag7.xml"/><Relationship Id="rId27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B56AB8B-21F0-4EA1-94E1-C5EFF44E6CA6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83AAAD08-CEBC-4EA4-971E-FB23F7810B14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25" r:id="rId1"/>
    <p:sldLayoutId id="2147486320" r:id="rId2"/>
    <p:sldLayoutId id="2147486326" r:id="rId3"/>
    <p:sldLayoutId id="2147486321" r:id="rId4"/>
    <p:sldLayoutId id="2147486322" r:id="rId5"/>
    <p:sldLayoutId id="2147486323" r:id="rId6"/>
    <p:sldLayoutId id="2147486327" r:id="rId7"/>
    <p:sldLayoutId id="2147486328" r:id="rId8"/>
    <p:sldLayoutId id="2147486329" r:id="rId9"/>
    <p:sldLayoutId id="2147486324" r:id="rId10"/>
    <p:sldLayoutId id="214748633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6B7D7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B5AE5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848058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E8B54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627851E-E45F-4DFA-B6EC-393F5D1408AF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8591BD6-D9CE-4F69-AA4A-2A25FA13653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31" r:id="rId1"/>
    <p:sldLayoutId id="2147486332" r:id="rId2"/>
    <p:sldLayoutId id="2147486333" r:id="rId3"/>
    <p:sldLayoutId id="2147486334" r:id="rId4"/>
    <p:sldLayoutId id="2147486335" r:id="rId5"/>
    <p:sldLayoutId id="2147486336" r:id="rId6"/>
    <p:sldLayoutId id="2147486337" r:id="rId7"/>
    <p:sldLayoutId id="2147486338" r:id="rId8"/>
    <p:sldLayoutId id="2147486339" r:id="rId9"/>
    <p:sldLayoutId id="2147486340" r:id="rId10"/>
    <p:sldLayoutId id="214748634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6B7D7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6B7D72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B5AE5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848058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E8B54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fld id="{D3FA2C83-5F8C-44E2-921E-5FADFABE5CBA}" type="datetimeFigureOut">
              <a:rPr lang="ru-RU"/>
              <a:pPr>
                <a:defRPr/>
              </a:pPr>
              <a:t>28.11.2019</a:t>
            </a:fld>
            <a:endParaRPr lang="ru-RU" altLang="en-US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endParaRPr lang="ru-RU" altLang="en-US"/>
          </a:p>
        </p:txBody>
      </p:sp>
      <p:sp>
        <p:nvSpPr>
          <p:cNvPr id="6554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pPr>
              <a:defRPr/>
            </a:pPr>
            <a:fld id="{D10D6E16-7D05-44F1-BC9C-BFA2C097C9F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  <p:sp>
        <p:nvSpPr>
          <p:cNvPr id="2055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2056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82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43" r:id="rId1"/>
    <p:sldLayoutId id="2147486344" r:id="rId2"/>
    <p:sldLayoutId id="2147486345" r:id="rId3"/>
    <p:sldLayoutId id="2147486346" r:id="rId4"/>
    <p:sldLayoutId id="2147486347" r:id="rId5"/>
    <p:sldLayoutId id="2147486348" r:id="rId6"/>
    <p:sldLayoutId id="2147486349" r:id="rId7"/>
    <p:sldLayoutId id="2147486350" r:id="rId8"/>
    <p:sldLayoutId id="2147486351" r:id="rId9"/>
    <p:sldLayoutId id="2147486352" r:id="rId10"/>
    <p:sldLayoutId id="2147486353" r:id="rId11"/>
    <p:sldLayoutId id="2147486354" r:id="rId1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7" name="Rounded Rectangle 6"/>
          <p:cNvSpPr/>
          <p:nvPr/>
        </p:nvSpPr>
        <p:spPr>
          <a:xfrm>
            <a:off x="92075" y="101600"/>
            <a:ext cx="8959850" cy="6664325"/>
          </a:xfrm>
          <a:prstGeom prst="roundRect">
            <a:avLst>
              <a:gd name="adj" fmla="val 1735"/>
            </a:avLst>
          </a:prstGeom>
          <a:ln w="127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752600"/>
            <a:ext cx="8229600" cy="437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4244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C099CD0-F0DC-4560-9822-CCD40559292E}" type="slidenum">
              <a:rPr lang="ru-RU">
                <a:solidFill>
                  <a:srgbClr val="424456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24456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4320" y="278166"/>
            <a:ext cx="8595360" cy="1325880"/>
          </a:xfrm>
          <a:prstGeom prst="rect">
            <a:avLst/>
          </a:prstGeom>
          <a:solidFill>
            <a:srgbClr val="FFFFFF">
              <a:alpha val="83000"/>
            </a:srgbClr>
          </a:solidFill>
          <a:ln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73063" y="373063"/>
            <a:ext cx="8380412" cy="1117600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836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68" r:id="rId1"/>
    <p:sldLayoutId id="2147486369" r:id="rId2"/>
    <p:sldLayoutId id="2147486370" r:id="rId3"/>
    <p:sldLayoutId id="2147486371" r:id="rId4"/>
    <p:sldLayoutId id="2147486372" r:id="rId5"/>
    <p:sldLayoutId id="2147486373" r:id="rId6"/>
    <p:sldLayoutId id="2147486374" r:id="rId7"/>
    <p:sldLayoutId id="2147486375" r:id="rId8"/>
    <p:sldLayoutId id="2147486376" r:id="rId9"/>
    <p:sldLayoutId id="2147486377" r:id="rId10"/>
    <p:sldLayoutId id="214748637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kern="1200" cap="all">
          <a:solidFill>
            <a:srgbClr val="3E3F68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>
          <a:solidFill>
            <a:srgbClr val="3E3F68"/>
          </a:solidFill>
          <a:latin typeface="Book Antiqua" pitchFamily="18" charset="0"/>
        </a:defRPr>
      </a:lvl9pPr>
    </p:titleStyle>
    <p:bodyStyle>
      <a:lvl1pPr marL="342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39763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A04DA3"/>
        </a:buClr>
        <a:buFont typeface="Arial" charset="0"/>
        <a:buChar char="•"/>
        <a:defRPr kern="1200">
          <a:solidFill>
            <a:schemeClr val="tx2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ct val="20000"/>
        </a:spcBef>
        <a:spcAft>
          <a:spcPct val="0"/>
        </a:spcAft>
        <a:buClr>
          <a:srgbClr val="C4652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ct val="20000"/>
        </a:spcBef>
        <a:spcAft>
          <a:spcPct val="0"/>
        </a:spcAft>
        <a:buClr>
          <a:srgbClr val="8B5D3D"/>
        </a:buClr>
        <a:buFont typeface="Arial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19456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67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479" y="-22677"/>
            <a:ext cx="9145619" cy="241343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436" y="-21057"/>
            <a:ext cx="2611183" cy="239723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96" tIns="46648" rIns="93296" bIns="46648"/>
          <a:lstStyle/>
          <a:p>
            <a:endParaRPr lang="ru-RU" sz="120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479" y="-27536"/>
            <a:ext cx="9174776" cy="259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/>
          <a:lstStyle/>
          <a:p>
            <a:endParaRPr lang="ru-RU" sz="1200" smtClean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1379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860" y="6616658"/>
            <a:ext cx="9140759" cy="264018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670" y="6660392"/>
            <a:ext cx="190493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13526">
              <a:defRPr b="1">
                <a:solidFill>
                  <a:schemeClr val="bg2"/>
                </a:solidFill>
              </a:defRPr>
            </a:lvl1pPr>
          </a:lstStyle>
          <a:p>
            <a:fld id="{B66E1AFB-39CA-49A1-9C90-087FAE4B0F98}" type="slidenum">
              <a:rPr lang="en-US" sz="1200" smtClean="0">
                <a:solidFill>
                  <a:srgbClr val="FFFFFF"/>
                </a:solidFill>
                <a:latin typeface="Arial" pitchFamily="34" charset="0"/>
              </a:rPr>
              <a:pPr/>
              <a:t>‹#›</a:t>
            </a:fld>
            <a:endParaRPr lang="en-US" sz="1200" smtClean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489" y="234864"/>
            <a:ext cx="8794113" cy="294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4729" y="1299036"/>
            <a:ext cx="8794113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488" name="McK Slide Elements"/>
          <p:cNvGrpSpPr>
            <a:grpSpLocks/>
          </p:cNvGrpSpPr>
          <p:nvPr/>
        </p:nvGrpSpPr>
        <p:grpSpPr bwMode="auto">
          <a:xfrm>
            <a:off x="124729" y="542615"/>
            <a:ext cx="8794113" cy="6287850"/>
            <a:chOff x="77" y="335"/>
            <a:chExt cx="5429" cy="3882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447675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895350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344613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1600" smtClean="0">
                  <a:solidFill>
                    <a:srgbClr val="000000"/>
                  </a:solidFill>
                  <a:latin typeface="Arial" pitchFamily="34" charset="0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806450" indent="-806450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1079500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258888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438275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792288" defTabSz="895350"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71755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pitchFamily="34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pitchFamily="34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pitchFamily="34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198875" y="2765712"/>
            <a:ext cx="174770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smtClean="0">
                <a:solidFill>
                  <a:srgbClr val="000000"/>
                </a:solidFill>
                <a:latin typeface="Arial" pitchFamily="34" charset="0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79515" y="4302850"/>
            <a:ext cx="98642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smtClean="0">
                <a:solidFill>
                  <a:srgbClr val="000000"/>
                </a:solidFill>
                <a:latin typeface="Arial" pitchFamily="34" charset="0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0646" y="37255"/>
            <a:ext cx="182556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3526">
              <a:defRPr sz="800" b="1">
                <a:solidFill>
                  <a:schemeClr val="bg2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  <a:latin typeface="Arial" pitchFamily="34" charset="0"/>
              </a:rPr>
              <a:t>MOS-ROS005-200600608-SS1wm-r_c</a:t>
            </a:r>
          </a:p>
        </p:txBody>
      </p:sp>
      <p:graphicFrame>
        <p:nvGraphicFramePr>
          <p:cNvPr id="1062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8" r:id="rId28" imgW="0" imgH="0" progId="TCLayout.ActiveDocument">
                  <p:embed/>
                </p:oleObj>
              </mc:Choice>
              <mc:Fallback>
                <p:oleObj r:id="rId28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56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0" r:id="rId1"/>
    <p:sldLayoutId id="2147486381" r:id="rId2"/>
    <p:sldLayoutId id="2147486382" r:id="rId3"/>
    <p:sldLayoutId id="2147486383" r:id="rId4"/>
    <p:sldLayoutId id="2147486384" r:id="rId5"/>
    <p:sldLayoutId id="2147486385" r:id="rId6"/>
    <p:sldLayoutId id="2147486386" r:id="rId7"/>
    <p:sldLayoutId id="2147486387" r:id="rId8"/>
    <p:sldLayoutId id="2147486388" r:id="rId9"/>
    <p:sldLayoutId id="2147486389" r:id="rId10"/>
    <p:sldLayoutId id="2147486390" r:id="rId11"/>
    <p:sldLayoutId id="2147486391" r:id="rId12"/>
    <p:sldLayoutId id="2147486392" r:id="rId13"/>
  </p:sldLayoutIdLst>
  <p:hf hdr="0" dt="0"/>
  <p:txStyles>
    <p:titleStyle>
      <a:lvl1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396" indent="-145775" algn="l" defTabSz="913526" rtl="0" fontAlgn="base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269" indent="-152254" algn="l" defTabSz="913526" rtl="0" fontAlgn="base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0566" indent="-137677" algn="l" defTabSz="913526" rtl="0" fontAlgn="base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4440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60921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27402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93884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60365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_____Microsoft_Excel_97-20031.xls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60350"/>
            <a:ext cx="8420100" cy="6192838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b="1" i="1" dirty="0" smtClean="0">
                <a:solidFill>
                  <a:srgbClr val="333399"/>
                </a:solidFill>
              </a:rPr>
              <a:t/>
            </a:r>
            <a:br>
              <a:rPr lang="ru-RU" b="1" i="1" dirty="0" smtClean="0">
                <a:solidFill>
                  <a:srgbClr val="333399"/>
                </a:solidFill>
              </a:rPr>
            </a:br>
            <a:r>
              <a:rPr lang="ru-RU" sz="5300" b="1" i="1" dirty="0" smtClean="0">
                <a:solidFill>
                  <a:srgbClr val="333399"/>
                </a:solidFill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Проект бюджета </a:t>
            </a:r>
            <a:r>
              <a:rPr lang="ru-RU" sz="6000" b="1" dirty="0" err="1" smtClean="0">
                <a:solidFill>
                  <a:srgbClr val="002060"/>
                </a:solidFill>
              </a:rPr>
              <a:t>Шелеховского</a:t>
            </a:r>
            <a:r>
              <a:rPr lang="ru-RU" sz="6000" b="1" dirty="0" smtClean="0">
                <a:solidFill>
                  <a:srgbClr val="002060"/>
                </a:solidFill>
              </a:rPr>
              <a:t> района НА  </a:t>
            </a:r>
            <a:r>
              <a:rPr lang="ru-RU" sz="6000" b="1" dirty="0" smtClean="0">
                <a:solidFill>
                  <a:srgbClr val="002060"/>
                </a:solidFill>
              </a:rPr>
              <a:t>2020</a:t>
            </a:r>
            <a:r>
              <a:rPr lang="ru-RU" sz="60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год</a:t>
            </a:r>
            <a:r>
              <a:rPr lang="en-US" sz="6000" b="1" dirty="0" smtClean="0">
                <a:solidFill>
                  <a:srgbClr val="002060"/>
                </a:solidFill>
              </a:rPr>
              <a:t> </a:t>
            </a:r>
            <a:r>
              <a:rPr lang="ru-RU" sz="6000" b="1" dirty="0" smtClean="0">
                <a:solidFill>
                  <a:srgbClr val="002060"/>
                </a:solidFill>
              </a:rPr>
              <a:t>и  на плановый период </a:t>
            </a:r>
            <a:r>
              <a:rPr lang="ru-RU" sz="6000" b="1" dirty="0" smtClean="0">
                <a:solidFill>
                  <a:srgbClr val="002060"/>
                </a:solidFill>
              </a:rPr>
              <a:t>2021 </a:t>
            </a:r>
            <a:r>
              <a:rPr lang="ru-RU" sz="6000" b="1" dirty="0" smtClean="0">
                <a:solidFill>
                  <a:srgbClr val="002060"/>
                </a:solidFill>
              </a:rPr>
              <a:t>и </a:t>
            </a:r>
            <a:r>
              <a:rPr lang="ru-RU" sz="6000" b="1" dirty="0" smtClean="0">
                <a:solidFill>
                  <a:srgbClr val="002060"/>
                </a:solidFill>
              </a:rPr>
              <a:t>2022 </a:t>
            </a:r>
            <a:r>
              <a:rPr lang="ru-RU" sz="6000" b="1" dirty="0" smtClean="0">
                <a:solidFill>
                  <a:srgbClr val="002060"/>
                </a:solidFill>
              </a:rPr>
              <a:t>годов</a:t>
            </a:r>
            <a:r>
              <a:rPr lang="ru-RU" sz="6000" b="1" i="1" dirty="0" smtClean="0">
                <a:solidFill>
                  <a:srgbClr val="002060"/>
                </a:solidFill>
              </a:rPr>
              <a:t> </a:t>
            </a:r>
            <a:r>
              <a:rPr lang="ru-RU" sz="5300" b="1" i="1" dirty="0" smtClean="0">
                <a:solidFill>
                  <a:srgbClr val="333399"/>
                </a:solidFill>
              </a:rPr>
              <a:t/>
            </a:r>
            <a:br>
              <a:rPr lang="ru-RU" sz="5300" b="1" i="1" dirty="0" smtClean="0">
                <a:solidFill>
                  <a:srgbClr val="333399"/>
                </a:solidFill>
              </a:rPr>
            </a:br>
            <a:r>
              <a:rPr lang="ru-RU" sz="6000" b="1" i="1" dirty="0" smtClean="0">
                <a:solidFill>
                  <a:srgbClr val="E2A7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  <a:t/>
            </a:r>
            <a:br>
              <a:rPr lang="ru-RU" sz="6000" b="1" i="1" dirty="0" smtClean="0">
                <a:solidFill>
                  <a:srgbClr val="E2A7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</a:br>
            <a:endParaRPr lang="en-US" sz="6000" b="1" i="1" dirty="0" smtClean="0">
              <a:solidFill>
                <a:srgbClr val="E2A7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Monotype Corsiva" pitchFamily="66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500732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rgbClr val="002060"/>
                </a:solidFill>
              </a:rPr>
              <a:t>Структура расходов в 2018 году</a:t>
            </a:r>
            <a:endParaRPr lang="ru-RU" sz="1800" b="1" dirty="0">
              <a:solidFill>
                <a:srgbClr val="00206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10677364"/>
              </p:ext>
            </p:extLst>
          </p:nvPr>
        </p:nvGraphicFramePr>
        <p:xfrm>
          <a:off x="395536" y="1628800"/>
          <a:ext cx="8229600" cy="437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02341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788764"/>
          </a:xfrm>
        </p:spPr>
        <p:txBody>
          <a:bodyPr>
            <a:normAutofit/>
          </a:bodyPr>
          <a:lstStyle/>
          <a:p>
            <a:r>
              <a:rPr lang="ru-RU" sz="1800" b="1" dirty="0" smtClean="0"/>
              <a:t>Запланировано на реализацию приоритетных мероприятий на 2019-2021 годы </a:t>
            </a:r>
            <a:endParaRPr lang="ru-RU" sz="1800" b="1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0597167"/>
              </p:ext>
            </p:extLst>
          </p:nvPr>
        </p:nvGraphicFramePr>
        <p:xfrm>
          <a:off x="467544" y="1412776"/>
          <a:ext cx="8229600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680"/>
                <a:gridCol w="2108920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Выполнение проектно – изыскательских работ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-3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765,8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0 604,0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емонтов в пищеблоках образовательных организаций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 085,3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798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38,5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снащ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ищеблоков необходимым оборудованием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358,3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86,1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-919,2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рганизаци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еревозки обучающихся школьными автобусами, в </a:t>
                      </a:r>
                      <a:r>
                        <a:rPr lang="ru-RU" b="1" baseline="0" dirty="0" err="1" smtClean="0">
                          <a:solidFill>
                            <a:srgbClr val="7030A0"/>
                          </a:solidFill>
                        </a:rPr>
                        <a:t>т.ч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. приобретение школьных автобусов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 1 223,9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-781,2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-1 761,2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22219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5000915"/>
              </p:ext>
            </p:extLst>
          </p:nvPr>
        </p:nvGraphicFramePr>
        <p:xfrm>
          <a:off x="467544" y="1412776"/>
          <a:ext cx="8229600" cy="522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64696"/>
                <a:gridCol w="1964904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емонтных работ в зданиях образовательных организаций и учреждений, подведомственных отделу культуры, подготовку ПСД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18 245,1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-13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 045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-15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313,5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Капитальный ремонт ДЮСШ «Юность»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5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830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беспечение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ожарной безопасности образовательных организаций и учреждений, подведомственных отделу культуры 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755,2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2 711,2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-2 444,1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 летней оздоровительной кампании (обеспечение летнего отдыха в стационарных лагерях, лагерях с дневным пребыванием)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2 047,7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– 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047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-2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047,7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823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5017242"/>
              </p:ext>
            </p:extLst>
          </p:nvPr>
        </p:nvGraphicFramePr>
        <p:xfrm>
          <a:off x="467544" y="1326976"/>
          <a:ext cx="8229600" cy="4484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1064"/>
                <a:gridCol w="173853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135906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иобретение книжного фонда,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предметов музейного фонда и оборудова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409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559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69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29614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оведение мероприятий в зданиях муниципальных учреждений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, способствующих энергосбережению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619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– 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5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7996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3282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3507425"/>
              </p:ext>
            </p:extLst>
          </p:nvPr>
        </p:nvGraphicFramePr>
        <p:xfrm>
          <a:off x="467544" y="1326976"/>
          <a:ext cx="8229600" cy="49080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1064"/>
                <a:gridCol w="173853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беспечение детей в возрасте от 6 мес. до 1,5 лет специальными молочными продуктами (семьи с доходом ниже прожит. минимума)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–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2 0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2 00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2 000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овышение уровня доступности дл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маломобильных групп населе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63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  14,2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редоставление единовременных выплат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врачебным кадрам, прибывшим для работы в ОГБУЗ «</a:t>
                      </a:r>
                      <a:r>
                        <a:rPr lang="ru-RU" b="1" baseline="0" dirty="0" err="1" smtClean="0">
                          <a:solidFill>
                            <a:srgbClr val="7030A0"/>
                          </a:solidFill>
                        </a:rPr>
                        <a:t>Шелеховская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РБ»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-225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-3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  <a:tr h="279960"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1847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="1" dirty="0"/>
              <a:t>Запланировано на реализацию приоритетных мероприятий на 2019-2021 годы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2155132"/>
              </p:ext>
            </p:extLst>
          </p:nvPr>
        </p:nvGraphicFramePr>
        <p:xfrm>
          <a:off x="467544" y="1326976"/>
          <a:ext cx="8229600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64696"/>
                <a:gridCol w="1964904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</a:t>
                      </a:r>
                      <a:r>
                        <a:rPr lang="ru-RU" baseline="0" dirty="0" smtClean="0"/>
                        <a:t> мероприят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бъем запланированных средств, </a:t>
                      </a:r>
                      <a:r>
                        <a:rPr lang="ru-RU" dirty="0" err="1" smtClean="0"/>
                        <a:t>тыс.руб</a:t>
                      </a:r>
                      <a:r>
                        <a:rPr lang="ru-RU" dirty="0" smtClean="0"/>
                        <a:t>.</a:t>
                      </a:r>
                      <a:endParaRPr lang="ru-RU" dirty="0"/>
                    </a:p>
                  </a:txBody>
                  <a:tcPr/>
                </a:tc>
              </a:tr>
              <a:tr h="1575088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Подготовка объектов коммунальной инфраструктуры к отопительному сезону (ремонт водовода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</a:t>
                      </a:r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 </a:t>
                      </a:r>
                      <a:r>
                        <a:rPr lang="ru-RU" b="1" dirty="0" err="1" smtClean="0">
                          <a:solidFill>
                            <a:srgbClr val="7030A0"/>
                          </a:solidFill>
                        </a:rPr>
                        <a:t>Шелехов</a:t>
                      </a:r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 – Чистые Ключи, приобретение котельно – вспомогательного оборудования, подготовка объектов инженерной инфраструктуры к работе в зимних условиях) </a:t>
                      </a:r>
                    </a:p>
                    <a:p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 – 16 552,6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0 – 15 655,0</a:t>
                      </a:r>
                    </a:p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21 – 13 235,0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Организация сбора,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транспортирования и утилизации ТКО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– 8 25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– 200,0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- 200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10384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Содержание автомобильных дорог общего пользования местного значения</a:t>
                      </a:r>
                      <a:endParaRPr lang="ru-RU" b="1" dirty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7030A0"/>
                          </a:solidFill>
                        </a:rPr>
                        <a:t>2019-</a:t>
                      </a:r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 1 496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0 -  1 886,1</a:t>
                      </a:r>
                    </a:p>
                    <a:p>
                      <a:r>
                        <a:rPr lang="ru-RU" b="1" baseline="0" dirty="0" smtClean="0">
                          <a:solidFill>
                            <a:srgbClr val="7030A0"/>
                          </a:solidFill>
                        </a:rPr>
                        <a:t>2021 – 2 024,0</a:t>
                      </a:r>
                      <a:endParaRPr lang="ru-RU" b="1" dirty="0" smtClean="0">
                        <a:solidFill>
                          <a:srgbClr val="7030A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86588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010670" y="6660392"/>
            <a:ext cx="1904932" cy="492443"/>
          </a:xfrm>
        </p:spPr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  <p:sp>
        <p:nvSpPr>
          <p:cNvPr id="1525815" name="Rectangle 55"/>
          <p:cNvSpPr>
            <a:spLocks noGrp="1" noChangeArrowheads="1"/>
          </p:cNvSpPr>
          <p:nvPr>
            <p:ph type="title"/>
          </p:nvPr>
        </p:nvSpPr>
        <p:spPr>
          <a:xfrm>
            <a:off x="179512" y="260648"/>
            <a:ext cx="8794113" cy="553998"/>
          </a:xfrm>
        </p:spPr>
        <p:txBody>
          <a:bodyPr/>
          <a:lstStyle/>
          <a:p>
            <a:pPr algn="ctr"/>
            <a:r>
              <a:rPr lang="ru-RU" sz="1800" dirty="0" smtClean="0"/>
              <a:t>Межбюджетные трансферты бюджетам поселений </a:t>
            </a:r>
            <a:r>
              <a:rPr lang="ru-RU" sz="1800" dirty="0" err="1" smtClean="0"/>
              <a:t>Шелеховского</a:t>
            </a:r>
            <a:r>
              <a:rPr lang="ru-RU" sz="1800" dirty="0" smtClean="0"/>
              <a:t> района  </a:t>
            </a:r>
            <a:r>
              <a:rPr lang="ru-RU" sz="1800" dirty="0"/>
              <a:t>в </a:t>
            </a:r>
            <a:r>
              <a:rPr lang="ru-RU" sz="1800" dirty="0" smtClean="0"/>
              <a:t>2018-2021г.г.(тыс. рублей)</a:t>
            </a:r>
            <a:endParaRPr lang="ru-RU" sz="1800" dirty="0"/>
          </a:p>
        </p:txBody>
      </p:sp>
      <p:graphicFrame>
        <p:nvGraphicFramePr>
          <p:cNvPr id="1525877" name="Group 11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7912303"/>
              </p:ext>
            </p:extLst>
          </p:nvPr>
        </p:nvGraphicFramePr>
        <p:xfrm>
          <a:off x="153887" y="1772571"/>
          <a:ext cx="8738593" cy="4987009"/>
        </p:xfrm>
        <a:graphic>
          <a:graphicData uri="http://schemas.openxmlformats.org/drawingml/2006/table">
            <a:tbl>
              <a:tblPr/>
              <a:tblGrid>
                <a:gridCol w="3049961"/>
                <a:gridCol w="1152128"/>
                <a:gridCol w="1152128"/>
                <a:gridCol w="1080120"/>
                <a:gridCol w="936104"/>
                <a:gridCol w="1368152"/>
              </a:tblGrid>
              <a:tr h="6483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+mn-cs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8 год (первонач.)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8 (план на 01.12.2018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19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20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2021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57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уровня бюджетной обеспеченност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46 696,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34 692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925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тация на поддержку мер по обеспечению сбалансированности бюджетов поселений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40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40,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6 363,3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5 368,7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15 287,2</a:t>
                      </a:r>
                    </a:p>
                  </a:txBody>
                  <a:tcPr marL="93303" marR="93303" marT="46649" marB="4664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9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МБ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1 033,4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63 037,0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1 056,0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50 061,4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</a:rPr>
                        <a:t>49 979,9</a:t>
                      </a: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9883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Times New Roman" pitchFamily="18" charset="0"/>
                        </a:rPr>
                        <a:t>Объем средств, запланированный на 2019 год находится в пределах первоначальных параметров на 2018 год</a:t>
                      </a:r>
                    </a:p>
                  </a:txBody>
                  <a:tcPr marL="93303" marR="93303" marT="46649" marB="46649" anchor="b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3303" marR="93303" marT="46649" marB="46649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3330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07988"/>
            <a:ext cx="8075240" cy="860772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rgbClr val="0000FF"/>
                </a:solidFill>
              </a:rPr>
              <a:t>Основные параметры бюджета на 2019 год и на плановый период 2020 и 2021 годов, тыс. руб.</a:t>
            </a:r>
            <a:endParaRPr lang="ru-RU" sz="1800" b="1" dirty="0">
              <a:solidFill>
                <a:srgbClr val="0000FF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8791783"/>
              </p:ext>
            </p:extLst>
          </p:nvPr>
        </p:nvGraphicFramePr>
        <p:xfrm>
          <a:off x="457200" y="1340768"/>
          <a:ext cx="8229600" cy="4354695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170584"/>
                <a:gridCol w="1944216"/>
                <a:gridCol w="2057400"/>
                <a:gridCol w="2057400"/>
              </a:tblGrid>
              <a:tr h="1144135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Основные параметры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19</a:t>
                      </a:r>
                      <a:r>
                        <a:rPr lang="ru-RU" baseline="0" dirty="0" smtClean="0">
                          <a:solidFill>
                            <a:srgbClr val="0000FF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20 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rgbClr val="0000FF"/>
                          </a:solidFill>
                        </a:rPr>
                        <a:t>2021 год</a:t>
                      </a:r>
                      <a:endParaRPr lang="ru-RU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Доходы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01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059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389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886,6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388 155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Расходы,</a:t>
                      </a:r>
                    </a:p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в том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числе: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37</a:t>
                      </a:r>
                      <a:r>
                        <a:rPr lang="ru-RU" b="1" baseline="0" dirty="0" smtClean="0">
                          <a:solidFill>
                            <a:srgbClr val="0000FF"/>
                          </a:solidFill>
                        </a:rPr>
                        <a:t> 660,0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29 118,3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 414 278,9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Условно утвержденные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15 747,2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1 416,2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Дефицит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6 600,5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39 231,7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26 123,4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  <a:tr h="578441"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Процент дефицита к доходам без учета БП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6,9 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7,1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="1" dirty="0" smtClean="0">
                          <a:solidFill>
                            <a:srgbClr val="0000FF"/>
                          </a:solidFill>
                        </a:rPr>
                        <a:t>4,7%</a:t>
                      </a:r>
                      <a:endParaRPr lang="ru-RU" b="1" dirty="0">
                        <a:solidFill>
                          <a:srgbClr val="0000FF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7847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Уровень муниципального долг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2974301"/>
              </p:ext>
            </p:extLst>
          </p:nvPr>
        </p:nvGraphicFramePr>
        <p:xfrm>
          <a:off x="611560" y="1700808"/>
          <a:ext cx="8229600" cy="4373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439704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Rectangle 3"/>
          <p:cNvSpPr>
            <a:spLocks noGrp="1"/>
          </p:cNvSpPr>
          <p:nvPr>
            <p:ph type="body" idx="4294967295"/>
          </p:nvPr>
        </p:nvSpPr>
        <p:spPr>
          <a:xfrm>
            <a:off x="1652588" y="1524000"/>
            <a:ext cx="7491412" cy="4714875"/>
          </a:xfrm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ru-RU" dirty="0" smtClean="0"/>
          </a:p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endParaRPr lang="ru-RU" sz="2000" i="1" dirty="0" smtClean="0">
              <a:solidFill>
                <a:srgbClr val="FF99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algn="ctr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6600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Monotype Corsiva" pitchFamily="66" charset="0"/>
              </a:rPr>
              <a:t>Спасибо за внимание !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6453188"/>
            <a:ext cx="539750" cy="4048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77757773-1ADA-4AD7-AF37-CFD6BD5CCD81}" type="slidenum">
              <a:rPr lang="ru-RU" altLang="ru-RU" sz="1400" smtClean="0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ru-RU" altLang="ru-RU" sz="14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5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03238" y="260350"/>
            <a:ext cx="8640762" cy="882650"/>
          </a:xfrm>
        </p:spPr>
        <p:txBody>
          <a:bodyPr/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charset="0"/>
                <a:ea typeface="+mn-ea"/>
                <a:cs typeface="Times New Roman" pitchFamily="18" charset="0"/>
              </a:rPr>
              <a:t>Динамика доходов за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  <a:ea typeface="+mn-ea"/>
                <a:cs typeface="Times New Roman" pitchFamily="18" charset="0"/>
              </a:rPr>
              <a:t>2019-2022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  <a:ea typeface="+mn-ea"/>
                <a:cs typeface="Times New Roman" pitchFamily="18" charset="0"/>
              </a:rPr>
              <a:t>годы, тыс. руб.</a:t>
            </a:r>
            <a:r>
              <a:rPr lang="ru-RU" sz="2400" b="1" dirty="0" smtClean="0">
                <a:solidFill>
                  <a:srgbClr val="FF0000"/>
                </a:solidFill>
                <a:latin typeface="Arial" charset="0"/>
                <a:ea typeface="+mn-ea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FF0000"/>
                </a:solidFill>
                <a:latin typeface="Arial" charset="0"/>
                <a:ea typeface="+mn-ea"/>
                <a:cs typeface="Times New Roman" pitchFamily="18" charset="0"/>
              </a:rPr>
            </a:br>
            <a:endParaRPr lang="ru-RU" sz="2400" b="1" dirty="0" smtClean="0">
              <a:solidFill>
                <a:srgbClr val="FF0000"/>
              </a:solidFill>
            </a:endParaRPr>
          </a:p>
        </p:txBody>
      </p:sp>
      <p:sp>
        <p:nvSpPr>
          <p:cNvPr id="21508" name="Заголовок 1"/>
          <p:cNvSpPr txBox="1">
            <a:spLocks/>
          </p:cNvSpPr>
          <p:nvPr/>
        </p:nvSpPr>
        <p:spPr bwMode="auto">
          <a:xfrm>
            <a:off x="160338" y="571500"/>
            <a:ext cx="46450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entury Gothic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entury Gothic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B5AE53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entury Gothic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48058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B54D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endParaRPr lang="ru-RU" altLang="ru-RU">
              <a:solidFill>
                <a:srgbClr val="51418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1509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6283666"/>
              </p:ext>
            </p:extLst>
          </p:nvPr>
        </p:nvGraphicFramePr>
        <p:xfrm>
          <a:off x="755576" y="1916832"/>
          <a:ext cx="7375525" cy="4378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6" name="Диаграмма" r:id="rId4" imgW="8258192" imgH="4914896" progId="MSGraph.Chart.8">
                  <p:embed followColorScheme="full"/>
                </p:oleObj>
              </mc:Choice>
              <mc:Fallback>
                <p:oleObj name="Диаграмма" r:id="rId4" imgW="8258192" imgH="4914896" progId="MSGraph.Chart.8">
                  <p:embed followColorScheme="full"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576" y="1916832"/>
                        <a:ext cx="7375525" cy="43783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762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3528" y="260350"/>
            <a:ext cx="8066410" cy="504825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defRPr/>
            </a:pPr>
            <a: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  <a:t>Динамика по видам </a:t>
            </a:r>
            <a: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  <a:t>доходов за </a:t>
            </a:r>
            <a: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  <a:t>2019-2020 </a:t>
            </a:r>
            <a: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  <a:t>годы</a:t>
            </a:r>
            <a:br>
              <a:rPr lang="ru-RU" sz="2400" b="1" kern="1200" dirty="0" smtClean="0">
                <a:solidFill>
                  <a:srgbClr val="00B050"/>
                </a:solidFill>
                <a:latin typeface="Arial" charset="0"/>
                <a:ea typeface="+mn-ea"/>
                <a:cs typeface="Times New Roman" pitchFamily="18" charset="0"/>
              </a:rPr>
            </a:br>
            <a:endParaRPr lang="ru-RU" sz="2400" b="1" dirty="0" smtClean="0">
              <a:solidFill>
                <a:srgbClr val="00B050"/>
              </a:solidFill>
            </a:endParaRPr>
          </a:p>
        </p:txBody>
      </p:sp>
      <p:sp>
        <p:nvSpPr>
          <p:cNvPr id="2765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04250" y="6453188"/>
            <a:ext cx="539750" cy="4048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2DD1DB4-DF98-4853-AB07-7982E77097A4}" type="slidenum">
              <a:rPr lang="ru-RU" sz="1400" smtClean="0">
                <a:solidFill>
                  <a:srgbClr val="000000"/>
                </a:solidFill>
              </a:rPr>
              <a:pPr eaLnBrk="1" hangingPunct="1"/>
              <a:t>3</a:t>
            </a:fld>
            <a:endParaRPr lang="ru-RU" sz="1400" smtClean="0">
              <a:solidFill>
                <a:srgbClr val="000000"/>
              </a:solidFill>
            </a:endParaRPr>
          </a:p>
        </p:txBody>
      </p:sp>
      <p:sp>
        <p:nvSpPr>
          <p:cNvPr id="27652" name="Заголовок 1"/>
          <p:cNvSpPr txBox="1">
            <a:spLocks/>
          </p:cNvSpPr>
          <p:nvPr/>
        </p:nvSpPr>
        <p:spPr bwMode="auto">
          <a:xfrm>
            <a:off x="160338" y="571500"/>
            <a:ext cx="46450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80000"/>
              </a:lnSpc>
            </a:pPr>
            <a:endParaRPr lang="ru-RU" sz="2400" smtClean="0">
              <a:solidFill>
                <a:srgbClr val="51418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7653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94815"/>
              </p:ext>
            </p:extLst>
          </p:nvPr>
        </p:nvGraphicFramePr>
        <p:xfrm>
          <a:off x="544513" y="1772816"/>
          <a:ext cx="7658100" cy="465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9" name="Диаграмма" r:id="rId3" imgW="8572433" imgH="5229118" progId="MSGraph.Chart.8">
                  <p:embed followColorScheme="full"/>
                </p:oleObj>
              </mc:Choice>
              <mc:Fallback>
                <p:oleObj name="Диаграмма" r:id="rId3" imgW="8572433" imgH="522911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513" y="1772816"/>
                        <a:ext cx="7658100" cy="465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762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4" name="Rectangle 12"/>
          <p:cNvSpPr>
            <a:spLocks noChangeArrowheads="1"/>
          </p:cNvSpPr>
          <p:nvPr/>
        </p:nvSpPr>
        <p:spPr bwMode="auto">
          <a:xfrm>
            <a:off x="1543012" y="2364146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</a:t>
            </a:r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56 391</a:t>
            </a:r>
            <a:endParaRPr lang="ru-RU" sz="16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  <p:sp>
        <p:nvSpPr>
          <p:cNvPr id="27656" name="Rectangle 16"/>
          <p:cNvSpPr>
            <a:spLocks noChangeArrowheads="1"/>
          </p:cNvSpPr>
          <p:nvPr/>
        </p:nvSpPr>
        <p:spPr bwMode="auto">
          <a:xfrm>
            <a:off x="4373563" y="2132013"/>
            <a:ext cx="1135062" cy="5048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</a:rPr>
              <a:t>-</a:t>
            </a:r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</a:rPr>
              <a:t>44 996</a:t>
            </a:r>
            <a:endParaRPr lang="ru-RU" sz="1600" b="1" dirty="0" smtClean="0">
              <a:solidFill>
                <a:srgbClr val="FF0000"/>
              </a:solidFill>
              <a:latin typeface="Times New Roman" pitchFamily="18" charset="0"/>
            </a:endParaRPr>
          </a:p>
          <a:p>
            <a:pPr algn="ctr"/>
            <a:endParaRPr lang="ru-RU" sz="1600" b="1" dirty="0" smtClean="0">
              <a:solidFill>
                <a:srgbClr val="FF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88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486891"/>
          </a:xfrm>
        </p:spPr>
        <p:txBody>
          <a:bodyPr/>
          <a:lstStyle/>
          <a:p>
            <a:r>
              <a:rPr lang="ru-RU" sz="2400" b="1" dirty="0" smtClean="0"/>
              <a:t>Динамика налоговых доходов, тыс. руб.</a:t>
            </a:r>
            <a:endParaRPr lang="ru-RU" sz="2400" b="1" dirty="0"/>
          </a:p>
        </p:txBody>
      </p:sp>
      <p:graphicFrame>
        <p:nvGraphicFramePr>
          <p:cNvPr id="5" name="Диаграмма 4"/>
          <p:cNvGraphicFramePr>
            <a:graphicFrameLocks noGrp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1910197607"/>
              </p:ext>
            </p:extLst>
          </p:nvPr>
        </p:nvGraphicFramePr>
        <p:xfrm>
          <a:off x="457200" y="1600200"/>
          <a:ext cx="8229600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56827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ChangeArrowheads="1"/>
          </p:cNvSpPr>
          <p:nvPr/>
        </p:nvSpPr>
        <p:spPr bwMode="auto">
          <a:xfrm flipV="1">
            <a:off x="0" y="765175"/>
            <a:ext cx="9144000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endParaRPr lang="ru-RU" smtClean="0">
              <a:solidFill>
                <a:prstClr val="black"/>
              </a:solidFill>
            </a:endParaRPr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title"/>
          </p:nvPr>
        </p:nvSpPr>
        <p:spPr>
          <a:xfrm>
            <a:off x="539750" y="0"/>
            <a:ext cx="8102600" cy="1357313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Динамика  неналоговых доходов </a:t>
            </a:r>
            <a:r>
              <a:rPr lang="ru-RU" sz="20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Шелеховского</a:t>
            </a: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 района  в </a:t>
            </a: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2019 </a:t>
            </a: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– </a:t>
            </a: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2020 </a:t>
            </a:r>
            <a:r>
              <a:rPr lang="ru-RU" sz="2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гг.        (тыс. рублей</a:t>
            </a:r>
            <a:r>
              <a:rPr lang="ru-RU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  <a:cs typeface="Arial" charset="0"/>
              </a:rPr>
              <a:t>)</a:t>
            </a:r>
          </a:p>
        </p:txBody>
      </p:sp>
      <p:graphicFrame>
        <p:nvGraphicFramePr>
          <p:cNvPr id="2970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38948792"/>
              </p:ext>
            </p:extLst>
          </p:nvPr>
        </p:nvGraphicFramePr>
        <p:xfrm>
          <a:off x="-180975" y="1152525"/>
          <a:ext cx="10328275" cy="398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" name="Лист" r:id="rId4" imgW="7200833" imgH="2781262" progId="Excel.Sheet.8">
                  <p:embed/>
                </p:oleObj>
              </mc:Choice>
              <mc:Fallback>
                <p:oleObj name="Лист" r:id="rId4" imgW="7200833" imgH="2781262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80975" y="1152525"/>
                        <a:ext cx="10328275" cy="398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1" name="AutoShape 15"/>
          <p:cNvSpPr>
            <a:spLocks noChangeArrowheads="1"/>
          </p:cNvSpPr>
          <p:nvPr/>
        </p:nvSpPr>
        <p:spPr bwMode="auto">
          <a:xfrm rot="-5400000">
            <a:off x="6516688" y="4581525"/>
            <a:ext cx="1079500" cy="3587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/>
            <a:endParaRPr lang="ru-RU" sz="1300" b="1" smtClean="0">
              <a:solidFill>
                <a:prstClr val="black"/>
              </a:solidFill>
            </a:endParaRPr>
          </a:p>
        </p:txBody>
      </p:sp>
      <p:sp>
        <p:nvSpPr>
          <p:cNvPr id="29702" name="AutoShape 15"/>
          <p:cNvSpPr>
            <a:spLocks noChangeArrowheads="1"/>
          </p:cNvSpPr>
          <p:nvPr/>
        </p:nvSpPr>
        <p:spPr bwMode="auto">
          <a:xfrm rot="-5400000">
            <a:off x="7056438" y="4184650"/>
            <a:ext cx="1295400" cy="3587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sz="1600" b="1" smtClean="0">
                <a:solidFill>
                  <a:srgbClr val="00FF00"/>
                </a:solidFill>
              </a:rPr>
              <a:t> </a:t>
            </a:r>
            <a:r>
              <a:rPr lang="ru-RU" sz="1300" b="1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9703" name="Rectangle 12"/>
          <p:cNvSpPr>
            <a:spLocks noChangeArrowheads="1"/>
          </p:cNvSpPr>
          <p:nvPr/>
        </p:nvSpPr>
        <p:spPr bwMode="auto">
          <a:xfrm>
            <a:off x="2411760" y="3085719"/>
            <a:ext cx="1152302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391,6</a:t>
            </a:r>
            <a:endParaRPr lang="ru-RU" sz="18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  <p:sp>
        <p:nvSpPr>
          <p:cNvPr id="29704" name="Rectangle 12"/>
          <p:cNvSpPr>
            <a:spLocks noChangeArrowheads="1"/>
          </p:cNvSpPr>
          <p:nvPr/>
        </p:nvSpPr>
        <p:spPr bwMode="auto">
          <a:xfrm>
            <a:off x="4140200" y="3127121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1 971,1</a:t>
            </a:r>
            <a:endParaRPr lang="ru-RU" sz="16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  <p:sp>
        <p:nvSpPr>
          <p:cNvPr id="29705" name="Rectangle 12"/>
          <p:cNvSpPr>
            <a:spLocks noChangeArrowheads="1"/>
          </p:cNvSpPr>
          <p:nvPr/>
        </p:nvSpPr>
        <p:spPr bwMode="auto">
          <a:xfrm>
            <a:off x="6013450" y="2470247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+ </a:t>
            </a:r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3 373,5</a:t>
            </a:r>
            <a:endParaRPr lang="ru-RU" sz="16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  <p:sp>
        <p:nvSpPr>
          <p:cNvPr id="29706" name="Rectangle 12"/>
          <p:cNvSpPr>
            <a:spLocks noChangeArrowheads="1"/>
          </p:cNvSpPr>
          <p:nvPr/>
        </p:nvSpPr>
        <p:spPr bwMode="auto">
          <a:xfrm>
            <a:off x="7524750" y="2986439"/>
            <a:ext cx="863600" cy="5746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-</a:t>
            </a:r>
            <a:r>
              <a:rPr lang="ru-RU" sz="1600" b="1" dirty="0" smtClean="0">
                <a:solidFill>
                  <a:srgbClr val="FF5050"/>
                </a:solidFill>
                <a:latin typeface="Times New Roman" pitchFamily="18" charset="0"/>
              </a:rPr>
              <a:t>38 437,1</a:t>
            </a:r>
            <a:endParaRPr lang="ru-RU" sz="1600" b="1" dirty="0" smtClean="0">
              <a:solidFill>
                <a:srgbClr val="FF505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058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092535"/>
              </p:ext>
            </p:extLst>
          </p:nvPr>
        </p:nvGraphicFramePr>
        <p:xfrm>
          <a:off x="323528" y="764704"/>
          <a:ext cx="8496944" cy="5549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6349"/>
                <a:gridCol w="792815"/>
                <a:gridCol w="792815"/>
                <a:gridCol w="951378"/>
                <a:gridCol w="872097"/>
                <a:gridCol w="951378"/>
                <a:gridCol w="951378"/>
                <a:gridCol w="1678734"/>
              </a:tblGrid>
              <a:tr h="129614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Наименование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8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9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2019 к 2018,</a:t>
                      </a:r>
                    </a:p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 млн.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20 год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 2020 к 2019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21 год, млн.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зм. 2021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к 2020, млн. руб.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3111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Дотац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3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9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6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35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33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9,5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6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убсид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05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89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6,7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0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Субвенции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45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1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36,8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4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3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784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0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64060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ные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МБТ,</a:t>
                      </a:r>
                    </a:p>
                    <a:p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из них: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2,4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809183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на </a:t>
                      </a:r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</a:rPr>
                        <a:t>осущ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. части полномочий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4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2,4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8671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Иные БП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6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4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640603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Возврат остатков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-1,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+1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0,0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  <a:tr h="410211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ВСЕГО БП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921,7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70,2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51,5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39,9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30,3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833,8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-6,1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30020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2003950"/>
              </p:ext>
            </p:extLst>
          </p:nvPr>
        </p:nvGraphicFramePr>
        <p:xfrm>
          <a:off x="461828" y="-14480"/>
          <a:ext cx="8208912" cy="63765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4456"/>
                <a:gridCol w="1368152"/>
                <a:gridCol w="1296144"/>
                <a:gridCol w="1440160"/>
              </a:tblGrid>
              <a:tr h="3021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Наименование</a:t>
                      </a:r>
                      <a:r>
                        <a:rPr lang="ru-RU" sz="1400" baseline="0" dirty="0" smtClean="0">
                          <a:solidFill>
                            <a:srgbClr val="C00000"/>
                          </a:solidFill>
                        </a:rPr>
                        <a:t> раздела</a:t>
                      </a:r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19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0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1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</a:tr>
              <a:tr h="417918"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Wingdings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егосударственные вопросы</a:t>
                      </a:r>
                      <a:endParaRPr lang="ru-RU" sz="16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5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849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5 168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2 935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Clr>
                          <a:srgbClr val="C00000"/>
                        </a:buClr>
                        <a:buFont typeface="Wingdings" pitchFamily="2" charset="2"/>
                        <a:buChar char="Ø"/>
                      </a:pP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циональная безопасность и правоохранительная</a:t>
                      </a:r>
                      <a:r>
                        <a:rPr lang="ru-RU" sz="16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еятельность</a:t>
                      </a:r>
                      <a:r>
                        <a:rPr lang="ru-RU" sz="16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6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816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200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015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циональная экономика,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.ч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i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рожный фонд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185,0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96,1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275,0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86,1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512,9</a:t>
                      </a:r>
                    </a:p>
                    <a:p>
                      <a:pPr algn="ctr"/>
                      <a:r>
                        <a:rPr lang="ru-RU" sz="1400" b="1" i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024,0</a:t>
                      </a:r>
                      <a:endParaRPr lang="ru-RU" sz="1400" b="1" i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501217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Жилищно – коммунальное хозяйство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 951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 02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60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разование, в том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числе: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</a:p>
                    <a:p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16 640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5 864,3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1 681,4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5 946,6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23 951,3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48 247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40 111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4 422,8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100 837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4 740,8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6 496,7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0 369,5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 482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1 279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9 568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09023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56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644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 71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6004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порт</a:t>
                      </a:r>
                      <a:endParaRPr lang="ru-RU" sz="1400" b="1" dirty="0" smtClean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 094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 922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846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382715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едства массовой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формации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0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3204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служивание муниципального долга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715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4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4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  <a:tr h="432048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Ø"/>
                      </a:pP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жбюджетные трансферты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 056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0 061,4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 979,9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СЕГО РАСХОДОВ, в </a:t>
                      </a:r>
                      <a:r>
                        <a:rPr lang="ru-RU" sz="1400" b="1" dirty="0" err="1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.ч</a:t>
                      </a:r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ы на финансирование социальной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феры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37 660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208 786,5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13 371,1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06 798,2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382 862,7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400" b="1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80 971,3</a:t>
                      </a:r>
                      <a:endParaRPr lang="ru-RU" sz="140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</a:tbl>
          </a:graphicData>
        </a:graphic>
      </p:graphicFrame>
      <p:sp>
        <p:nvSpPr>
          <p:cNvPr id="3" name="Левая фигурная скобка 2"/>
          <p:cNvSpPr/>
          <p:nvPr/>
        </p:nvSpPr>
        <p:spPr>
          <a:xfrm>
            <a:off x="382636" y="2708920"/>
            <a:ext cx="155448" cy="914400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81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450" y="407988"/>
            <a:ext cx="8261350" cy="1039812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</a:rPr>
              <a:t>Структура Расходов бюджета</a:t>
            </a:r>
            <a:br>
              <a:rPr lang="ru-RU" sz="2000" b="1" dirty="0" smtClean="0">
                <a:solidFill>
                  <a:srgbClr val="002060"/>
                </a:solidFill>
              </a:rPr>
            </a:br>
            <a:r>
              <a:rPr lang="ru-RU" sz="2000" b="1" dirty="0" err="1" smtClean="0">
                <a:solidFill>
                  <a:srgbClr val="002060"/>
                </a:solidFill>
              </a:rPr>
              <a:t>Шелеховского</a:t>
            </a:r>
            <a:r>
              <a:rPr lang="ru-RU" sz="2000" b="1" dirty="0" smtClean="0">
                <a:solidFill>
                  <a:srgbClr val="002060"/>
                </a:solidFill>
              </a:rPr>
              <a:t> района в 2019-2021 годах, млн. рублей</a:t>
            </a:r>
            <a:endParaRPr lang="ru-RU" sz="2000" b="1" dirty="0">
              <a:solidFill>
                <a:srgbClr val="002060"/>
              </a:solidFill>
            </a:endParaRPr>
          </a:p>
        </p:txBody>
      </p:sp>
      <p:graphicFrame>
        <p:nvGraphicFramePr>
          <p:cNvPr id="3" name="Объект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99821074"/>
              </p:ext>
            </p:extLst>
          </p:nvPr>
        </p:nvGraphicFramePr>
        <p:xfrm>
          <a:off x="179512" y="1772816"/>
          <a:ext cx="8208912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780575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5597488"/>
              </p:ext>
            </p:extLst>
          </p:nvPr>
        </p:nvGraphicFramePr>
        <p:xfrm>
          <a:off x="467544" y="116632"/>
          <a:ext cx="8496944" cy="6670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6584"/>
                <a:gridCol w="1080120"/>
                <a:gridCol w="1080120"/>
                <a:gridCol w="1080120"/>
              </a:tblGrid>
              <a:tr h="37094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Наименование муниципальной программы 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19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0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C00000"/>
                          </a:solidFill>
                        </a:rPr>
                        <a:t>2021, тыс. рублей</a:t>
                      </a:r>
                      <a:endParaRPr lang="ru-RU" sz="1400" dirty="0">
                        <a:solidFill>
                          <a:srgbClr val="C00000"/>
                        </a:solidFill>
                      </a:endParaRPr>
                    </a:p>
                  </a:txBody>
                  <a:tcPr marT="45733" marB="45733"/>
                </a:tc>
              </a:tr>
              <a:tr h="51824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«Совершенствование сферы образования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47 941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43 519,9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026 085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ие условий для развития молодежной среды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859,7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«Развитие сферы культуры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8 369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2 374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8 757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501217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«Дополнительные меры поддержки для отдельных категорий граждан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33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59,2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20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«Развитие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физической культуры и системы спортивной подготовки в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м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е» 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8 140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 356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 401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45732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.  «Обеспечение комплексных мер безопасности на территории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652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188,3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003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60995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. « Совершенствование механизмов управления развитием </a:t>
                      </a:r>
                      <a:r>
                        <a:rPr lang="ru-RU" sz="1400" b="1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5 939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8 891,5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6 522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720080">
                <a:tc>
                  <a:txBody>
                    <a:bodyPr/>
                    <a:lstStyle/>
                    <a:p>
                      <a:endParaRPr lang="ru-RU" sz="1400" b="1" dirty="0" smtClean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. «Совершенствование механизмов управлением муниципальным имуществом»</a:t>
                      </a:r>
                    </a:p>
                    <a:p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 226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 454,6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 764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60382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.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Развитие коммунальной инфраструктуры и экологии </a:t>
                      </a:r>
                      <a:r>
                        <a:rPr lang="ru-RU" sz="1400" b="1" baseline="0" dirty="0" err="1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елеховского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йона»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 917,8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 791,1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509,0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3" marB="45733"/>
                </a:tc>
              </a:tr>
              <a:tr h="79208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 расходов по муниципальным программам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28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80,0</a:t>
                      </a:r>
                    </a:p>
                    <a:p>
                      <a:pPr algn="ctr"/>
                      <a:r>
                        <a:rPr lang="ru-RU" sz="1400" b="1" u="sng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4% от объема расходов</a:t>
                      </a:r>
                      <a:endParaRPr lang="ru-RU" sz="1400" b="1" u="sng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08 695,0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7%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378</a:t>
                      </a:r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23,1</a:t>
                      </a:r>
                    </a:p>
                    <a:p>
                      <a:pPr algn="ctr"/>
                      <a:r>
                        <a:rPr lang="ru-RU" sz="1400" b="1" baseline="0" dirty="0" smtClean="0">
                          <a:solidFill>
                            <a:srgbClr val="0000FF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9,7%</a:t>
                      </a:r>
                      <a:endParaRPr lang="ru-RU" sz="1400" b="1" dirty="0">
                        <a:solidFill>
                          <a:srgbClr val="0000FF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32" marB="45732"/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Аптека">
  <a:themeElements>
    <a:clrScheme name="Аптека">
      <a:dk1>
        <a:sysClr val="windowText" lastClr="000000"/>
      </a:dk1>
      <a:lt1>
        <a:sysClr val="window" lastClr="FFFFFF"/>
      </a:lt1>
      <a:dk2>
        <a:srgbClr val="564B3C"/>
      </a:dk2>
      <a:lt2>
        <a:srgbClr val="ECEDD1"/>
      </a:lt2>
      <a:accent1>
        <a:srgbClr val="93A299"/>
      </a:accent1>
      <a:accent2>
        <a:srgbClr val="CF543F"/>
      </a:accent2>
      <a:accent3>
        <a:srgbClr val="B5AE53"/>
      </a:accent3>
      <a:accent4>
        <a:srgbClr val="848058"/>
      </a:accent4>
      <a:accent5>
        <a:srgbClr val="E8B54D"/>
      </a:accent5>
      <a:accent6>
        <a:srgbClr val="786C71"/>
      </a:accent6>
      <a:hlink>
        <a:srgbClr val="CCCC00"/>
      </a:hlink>
      <a:folHlink>
        <a:srgbClr val="B2B2B2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Аптека">
  <a:themeElements>
    <a:clrScheme name="Аптека">
      <a:dk1>
        <a:sysClr val="windowText" lastClr="000000"/>
      </a:dk1>
      <a:lt1>
        <a:sysClr val="window" lastClr="FFFFFF"/>
      </a:lt1>
      <a:dk2>
        <a:srgbClr val="564B3C"/>
      </a:dk2>
      <a:lt2>
        <a:srgbClr val="ECEDD1"/>
      </a:lt2>
      <a:accent1>
        <a:srgbClr val="93A299"/>
      </a:accent1>
      <a:accent2>
        <a:srgbClr val="CF543F"/>
      </a:accent2>
      <a:accent3>
        <a:srgbClr val="B5AE53"/>
      </a:accent3>
      <a:accent4>
        <a:srgbClr val="848058"/>
      </a:accent4>
      <a:accent5>
        <a:srgbClr val="E8B54D"/>
      </a:accent5>
      <a:accent6>
        <a:srgbClr val="786C71"/>
      </a:accent6>
      <a:hlink>
        <a:srgbClr val="CCCC00"/>
      </a:hlink>
      <a:folHlink>
        <a:srgbClr val="B2B2B2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Край">
  <a:themeElements>
    <a:clrScheme name="Край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Край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Край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рай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рай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Аптека">
  <a:themeElements>
    <a:clrScheme name="Городская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Аптека">
      <a:majorFont>
        <a:latin typeface="Book Antiqua"/>
        <a:ea typeface=""/>
        <a:cs typeface=""/>
        <a:font script="Jpan" typeface="HGS明朝B"/>
        <a:font script="Hang" typeface="HY견명조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견명조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Аптека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3000"/>
            <a:satMod val="14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atMod val="170000"/>
              </a:schemeClr>
              <a:schemeClr val="phClr">
                <a:shade val="70000"/>
                <a:satMod val="13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DDDDD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DDDDDD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othecary</Template>
  <TotalTime>14019</TotalTime>
  <Words>1206</Words>
  <Application>Microsoft Office PowerPoint</Application>
  <PresentationFormat>Экран (4:3)</PresentationFormat>
  <Paragraphs>368</Paragraphs>
  <Slides>1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9</vt:i4>
      </vt:variant>
    </vt:vector>
  </HeadingPairs>
  <TitlesOfParts>
    <vt:vector size="27" baseType="lpstr">
      <vt:lpstr>1_Аптека</vt:lpstr>
      <vt:lpstr>Аптека</vt:lpstr>
      <vt:lpstr>Край</vt:lpstr>
      <vt:lpstr>3_Аптека</vt:lpstr>
      <vt:lpstr>Universal Template_RU</vt:lpstr>
      <vt:lpstr>TCLayout.ActiveDocument</vt:lpstr>
      <vt:lpstr>Диаграмма Microsoft Graph</vt:lpstr>
      <vt:lpstr>Лист Microsoft Excel 97-2003</vt:lpstr>
      <vt:lpstr>  Проект бюджета Шелеховского района НА  2020 год и  на плановый период 2021 и 2022 годов   </vt:lpstr>
      <vt:lpstr>Динамика доходов за 2019-2022 годы, тыс. руб. </vt:lpstr>
      <vt:lpstr>Динамика по видам доходов за 2019-2020 годы </vt:lpstr>
      <vt:lpstr>Динамика налоговых доходов, тыс. руб.</vt:lpstr>
      <vt:lpstr>Динамика  неналоговых доходов Шелеховского района  в 2019 – 2020 гг.        (тыс. рублей)</vt:lpstr>
      <vt:lpstr>Презентация PowerPoint</vt:lpstr>
      <vt:lpstr>Презентация PowerPoint</vt:lpstr>
      <vt:lpstr>Структура Расходов бюджета Шелеховского района в 2019-2021 годах, млн. рублей</vt:lpstr>
      <vt:lpstr>Презентация PowerPoint</vt:lpstr>
      <vt:lpstr>Структура расходов в 2018 году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Запланировано на реализацию приоритетных мероприятий на 2019-2021 годы </vt:lpstr>
      <vt:lpstr>Межбюджетные трансферты бюджетам поселений Шелеховского района  в 2018-2021г.г.(тыс. рублей)</vt:lpstr>
      <vt:lpstr>Основные параметры бюджета на 2019 год и на плановый период 2020 и 2021 годов, тыс. руб.</vt:lpstr>
      <vt:lpstr>Уровень муниципального долга</vt:lpstr>
      <vt:lpstr>Презентация PowerPoint</vt:lpstr>
    </vt:vector>
  </TitlesOfParts>
  <Company>RIA Novost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хема  взаимодействия участников процесса перевода государственных учреждений, предоставляющих социальные услуги,  в форму автономных учреждений</dc:title>
  <dc:creator>student</dc:creator>
  <cp:lastModifiedBy>Иванова Ольга Анатольевна</cp:lastModifiedBy>
  <cp:revision>1117</cp:revision>
  <cp:lastPrinted>2018-12-11T09:18:51Z</cp:lastPrinted>
  <dcterms:created xsi:type="dcterms:W3CDTF">2006-07-06T13:04:56Z</dcterms:created>
  <dcterms:modified xsi:type="dcterms:W3CDTF">2019-11-28T10:05:07Z</dcterms:modified>
</cp:coreProperties>
</file>